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56" r:id="rId2"/>
    <p:sldId id="1663" r:id="rId3"/>
    <p:sldId id="1664" r:id="rId4"/>
    <p:sldId id="1691" r:id="rId5"/>
    <p:sldId id="1690" r:id="rId6"/>
    <p:sldId id="1670" r:id="rId7"/>
    <p:sldId id="1675" r:id="rId8"/>
    <p:sldId id="1694" r:id="rId9"/>
    <p:sldId id="1692" r:id="rId10"/>
    <p:sldId id="1686" r:id="rId11"/>
    <p:sldId id="1687" r:id="rId12"/>
    <p:sldId id="1688" r:id="rId13"/>
    <p:sldId id="1689" r:id="rId14"/>
    <p:sldId id="1674" r:id="rId15"/>
    <p:sldId id="1633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EDBD95"/>
    <a:srgbClr val="DFC597"/>
    <a:srgbClr val="CDCB99"/>
    <a:srgbClr val="A1A1A1"/>
    <a:srgbClr val="595959"/>
    <a:srgbClr val="C33246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807" autoAdjust="0"/>
    <p:restoredTop sz="92371" autoAdjust="0"/>
  </p:normalViewPr>
  <p:slideViewPr>
    <p:cSldViewPr snapToGrid="0">
      <p:cViewPr varScale="1">
        <p:scale>
          <a:sx n="105" d="100"/>
          <a:sy n="105" d="100"/>
        </p:scale>
        <p:origin x="216" y="688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D43FB6-B8FF-40DB-88E7-107F403AD3ED}" type="doc">
      <dgm:prSet loTypeId="urn:microsoft.com/office/officeart/2005/8/layout/vProcess5" loCatId="process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751F268-1172-4D5F-B4F1-6D97F5E9A980}" type="pres">
      <dgm:prSet presAssocID="{E2D43FB6-B8FF-40DB-88E7-107F403AD3ED}" presName="outerComposite" presStyleCnt="0">
        <dgm:presLayoutVars>
          <dgm:chMax val="5"/>
          <dgm:dir/>
          <dgm:resizeHandles val="exact"/>
        </dgm:presLayoutVars>
      </dgm:prSet>
      <dgm:spPr/>
    </dgm:pt>
    <dgm:pt modelId="{AAF3A178-850E-4DFD-BF9B-33DDB68D76AE}" type="pres">
      <dgm:prSet presAssocID="{E2D43FB6-B8FF-40DB-88E7-107F403AD3ED}" presName="dummyMaxCanvas" presStyleCnt="0">
        <dgm:presLayoutVars/>
      </dgm:prSet>
      <dgm:spPr/>
    </dgm:pt>
  </dgm:ptLst>
  <dgm:cxnLst>
    <dgm:cxn modelId="{884FE6F0-2FB6-4F94-BB65-E6A23B023251}" type="presOf" srcId="{E2D43FB6-B8FF-40DB-88E7-107F403AD3ED}" destId="{8751F268-1172-4D5F-B4F1-6D97F5E9A980}" srcOrd="0" destOrd="0" presId="urn:microsoft.com/office/officeart/2005/8/layout/vProcess5"/>
    <dgm:cxn modelId="{F19DDF5E-6563-40EA-BF1F-291C19C11536}" type="presParOf" srcId="{8751F268-1172-4D5F-B4F1-6D97F5E9A980}" destId="{AAF3A178-850E-4DFD-BF9B-33DDB68D76AE}" srcOrd="0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11/19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19/11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1D801BC-A339-CC2B-EA8A-E9C93D00272D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0C0C32E7-B291-2245-4C42-04163CDC86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19A30-0576-2545-8734-9B03AF70B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996F1D3-05C1-8FA0-FDDC-98A67040A1E4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C66A050D-335D-6674-285C-7F16BF6B73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4375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8F59DB-985C-DF9B-E36B-040F0A5C5F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8628C0-009A-5274-9A07-6FC3CCB008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D3247F-2B9E-3CF9-9F53-4B2B5F00EB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19/11/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A43F04-71D2-6B6A-FEF0-63204096A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9F9C84-8F19-828F-2597-635717DBD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841102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50720B-E183-E19C-C343-ECD490C8DB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78D5F7-7A10-E6CC-5CC9-DA5332779E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94B226-F620-8F67-9BA8-41C8BC7B8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19/11/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391E7D-6DD1-73E1-A2EC-AB37C294C1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8AD163-C71B-B1B6-17B2-703BDD2D6C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207062D-1385-7310-66E0-939D39DD69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8636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  <p:sldLayoutId id="2147483667" r:id="rId14"/>
    <p:sldLayoutId id="2147483668" r:id="rId15"/>
    <p:sldLayoutId id="2147483669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2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AE6FF297-3495-495E-A602-117FEE56FB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2334" y="4544698"/>
            <a:ext cx="6259003" cy="424732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9615" y="3470979"/>
            <a:ext cx="10525125" cy="829971"/>
          </a:xfrm>
        </p:spPr>
        <p:txBody>
          <a:bodyPr anchor="b">
            <a:spAutoFit/>
          </a:bodyPr>
          <a:lstStyle/>
          <a:p>
            <a:r>
              <a:rPr lang="en-US" sz="3200" dirty="0"/>
              <a:t>PGP in Product Engineering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pstone </a:t>
            </a:r>
            <a:r>
              <a:rPr lang="en-US" sz="1200" dirty="0">
                <a:solidFill>
                  <a:prstClr val="white"/>
                </a:solidFill>
              </a:rPr>
              <a:t>Project – Sprint 01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671842" y="4646264"/>
            <a:ext cx="50225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Team 01</a:t>
            </a:r>
            <a:endParaRPr lang="en-IN" b="1" dirty="0">
              <a:solidFill>
                <a:schemeClr val="bg1"/>
              </a:solidFill>
            </a:endParaRPr>
          </a:p>
          <a:p>
            <a:r>
              <a:rPr lang="en-IN" b="1" dirty="0">
                <a:solidFill>
                  <a:schemeClr val="bg1"/>
                </a:solidFill>
              </a:rPr>
              <a:t>20</a:t>
            </a:r>
            <a:r>
              <a:rPr lang="en-IN" b="1" baseline="30000" dirty="0">
                <a:solidFill>
                  <a:schemeClr val="bg1"/>
                </a:solidFill>
              </a:rPr>
              <a:t>th</a:t>
            </a:r>
            <a:r>
              <a:rPr lang="en-IN" b="1" dirty="0">
                <a:solidFill>
                  <a:schemeClr val="bg1"/>
                </a:solidFill>
              </a:rPr>
              <a:t> Nov 2024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E9BE476-4E72-25F2-C6F4-5EDE100DBBAE}"/>
              </a:ext>
            </a:extLst>
          </p:cNvPr>
          <p:cNvGrpSpPr/>
          <p:nvPr/>
        </p:nvGrpSpPr>
        <p:grpSpPr>
          <a:xfrm>
            <a:off x="6096000" y="705079"/>
            <a:ext cx="5864661" cy="714125"/>
            <a:chOff x="6202495" y="826265"/>
            <a:chExt cx="5864661" cy="71412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57E4052-6DA1-D515-8D8A-1312F8C28638}"/>
                </a:ext>
              </a:extLst>
            </p:cNvPr>
            <p:cNvSpPr/>
            <p:nvPr/>
          </p:nvSpPr>
          <p:spPr>
            <a:xfrm>
              <a:off x="6202495" y="826265"/>
              <a:ext cx="5864661" cy="714125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482B8CC9-895E-6761-4A3A-B66A225CD8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268138" y="838659"/>
              <a:ext cx="5715000" cy="685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37169E-33A2-7326-B0CF-9EB8FE6C14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EECC7993-E1AA-AFDC-F7BB-10031E8EF449}"/>
              </a:ext>
            </a:extLst>
          </p:cNvPr>
          <p:cNvSpPr txBox="1"/>
          <p:nvPr/>
        </p:nvSpPr>
        <p:spPr>
          <a:xfrm>
            <a:off x="528810" y="484742"/>
            <a:ext cx="67110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ct Solution Implementation and Output  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FE03662-36CC-9887-1EF6-6914DB4B450C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6A63B1B-A341-3D6C-80E4-29458BC8CCE5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14C6D1B-0DAB-FE63-CDD8-CD65446700CA}"/>
              </a:ext>
            </a:extLst>
          </p:cNvPr>
          <p:cNvSpPr/>
          <p:nvPr/>
        </p:nvSpPr>
        <p:spPr>
          <a:xfrm>
            <a:off x="5764575" y="4219486"/>
            <a:ext cx="2885788" cy="1462857"/>
          </a:xfrm>
          <a:prstGeom prst="roundRect">
            <a:avLst>
              <a:gd name="adj" fmla="val 10000"/>
            </a:avLst>
          </a:prstGeom>
          <a:noFill/>
          <a:ln>
            <a:noFill/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5AA27-D990-FE89-F627-178BA8A77005}"/>
              </a:ext>
            </a:extLst>
          </p:cNvPr>
          <p:cNvSpPr txBox="1"/>
          <p:nvPr/>
        </p:nvSpPr>
        <p:spPr>
          <a:xfrm>
            <a:off x="8997696" y="217017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26687D9-000D-11FF-1631-6A6635809D7E}"/>
              </a:ext>
            </a:extLst>
          </p:cNvPr>
          <p:cNvSpPr txBox="1"/>
          <p:nvPr/>
        </p:nvSpPr>
        <p:spPr>
          <a:xfrm>
            <a:off x="528810" y="1217441"/>
            <a:ext cx="36599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Invalid Customer – Registration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94814D5-0CEE-DFF2-FC9A-BD3AAB2B145D}"/>
              </a:ext>
            </a:extLst>
          </p:cNvPr>
          <p:cNvSpPr txBox="1"/>
          <p:nvPr/>
        </p:nvSpPr>
        <p:spPr>
          <a:xfrm>
            <a:off x="723441" y="1637126"/>
            <a:ext cx="2198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. Invalid usernam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C24889C6-565D-FC66-B56E-D4711F27F4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3025" y="2085618"/>
            <a:ext cx="7772400" cy="1873554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BF244CFC-B869-8FBC-3CF8-A961645E14B1}"/>
              </a:ext>
            </a:extLst>
          </p:cNvPr>
          <p:cNvSpPr txBox="1"/>
          <p:nvPr/>
        </p:nvSpPr>
        <p:spPr>
          <a:xfrm>
            <a:off x="725578" y="4194191"/>
            <a:ext cx="44416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b. </a:t>
            </a:r>
            <a:r>
              <a:rPr lang="en-US" b="0" i="0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username should be unique in the database</a:t>
            </a:r>
            <a:endParaRPr lang="en-US" dirty="0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60A8C704-1BFF-DBB3-629B-CB921FBD0D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7963" y="4734109"/>
            <a:ext cx="7772400" cy="1246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9389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E396D1-FD7B-E3DB-10A3-49C9144491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93061A4-F1E7-92E7-81ED-695DF7559FE5}"/>
              </a:ext>
            </a:extLst>
          </p:cNvPr>
          <p:cNvSpPr txBox="1"/>
          <p:nvPr/>
        </p:nvSpPr>
        <p:spPr>
          <a:xfrm>
            <a:off x="528810" y="484742"/>
            <a:ext cx="67110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ct Solution Implementation and Output  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D624F03-4604-9E92-B755-21E88DAABD85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23D77B5-2DBB-9E2B-267C-21AED23ADDD2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6F91AB2-6DAB-A1D9-03E1-CAAFF5F62288}"/>
              </a:ext>
            </a:extLst>
          </p:cNvPr>
          <p:cNvSpPr/>
          <p:nvPr/>
        </p:nvSpPr>
        <p:spPr>
          <a:xfrm>
            <a:off x="5764575" y="4219486"/>
            <a:ext cx="2885788" cy="1462857"/>
          </a:xfrm>
          <a:prstGeom prst="roundRect">
            <a:avLst>
              <a:gd name="adj" fmla="val 10000"/>
            </a:avLst>
          </a:prstGeom>
          <a:noFill/>
          <a:ln>
            <a:noFill/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B413749-846F-D554-BD60-8FDB919805E5}"/>
              </a:ext>
            </a:extLst>
          </p:cNvPr>
          <p:cNvSpPr txBox="1"/>
          <p:nvPr/>
        </p:nvSpPr>
        <p:spPr>
          <a:xfrm>
            <a:off x="8997696" y="217017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EA73FCE-FBD9-8A8B-8750-E946060876EE}"/>
              </a:ext>
            </a:extLst>
          </p:cNvPr>
          <p:cNvSpPr txBox="1"/>
          <p:nvPr/>
        </p:nvSpPr>
        <p:spPr>
          <a:xfrm>
            <a:off x="528810" y="1217441"/>
            <a:ext cx="36599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Invalid Customer – Registration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5FDAAD2-6358-8508-40FB-6715C02ABA8B}"/>
              </a:ext>
            </a:extLst>
          </p:cNvPr>
          <p:cNvSpPr txBox="1"/>
          <p:nvPr/>
        </p:nvSpPr>
        <p:spPr>
          <a:xfrm>
            <a:off x="723441" y="1637126"/>
            <a:ext cx="58344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. </a:t>
            </a:r>
            <a:r>
              <a:rPr lang="en-US" b="0" i="0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username should not contain special character excep</a:t>
            </a:r>
            <a:r>
              <a:rPr lang="en-US" dirty="0">
                <a:solidFill>
                  <a:srgbClr val="000000"/>
                </a:solidFill>
                <a:latin typeface="Aptos Narrow" panose="020B0004020202020204" pitchFamily="34" charset="0"/>
              </a:rPr>
              <a:t>t _, @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FF7A144-7C97-D07A-F3D3-431A8BC0FF2D}"/>
              </a:ext>
            </a:extLst>
          </p:cNvPr>
          <p:cNvSpPr txBox="1"/>
          <p:nvPr/>
        </p:nvSpPr>
        <p:spPr>
          <a:xfrm>
            <a:off x="723441" y="4151574"/>
            <a:ext cx="49469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. </a:t>
            </a:r>
            <a:r>
              <a:rPr lang="en-US" b="0" i="0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password should have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atleast</a:t>
            </a:r>
            <a:r>
              <a:rPr lang="en-US" b="0" i="0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 1 special character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6FE548D-5CC9-FB5C-6529-020E364884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963" y="2006458"/>
            <a:ext cx="7772400" cy="190456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B29D481-968F-1888-FAFB-A2E5767AE0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7963" y="4520906"/>
            <a:ext cx="7772400" cy="1758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4084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7D569F-9818-F0AE-096B-81B79DE5F2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7981EF5-F598-7F4C-BD2F-EC589C6330E3}"/>
              </a:ext>
            </a:extLst>
          </p:cNvPr>
          <p:cNvSpPr txBox="1"/>
          <p:nvPr/>
        </p:nvSpPr>
        <p:spPr>
          <a:xfrm>
            <a:off x="528810" y="484742"/>
            <a:ext cx="67110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ct Solution Implementation and Output  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26018E8-2756-3EC3-4A28-C5DDD6E22C20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B9F03F6-D350-A720-AE8F-3FD8595A2D66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70D3BD9-E500-0C26-53F7-171871200613}"/>
              </a:ext>
            </a:extLst>
          </p:cNvPr>
          <p:cNvSpPr/>
          <p:nvPr/>
        </p:nvSpPr>
        <p:spPr>
          <a:xfrm>
            <a:off x="5764575" y="4219486"/>
            <a:ext cx="2885788" cy="1462857"/>
          </a:xfrm>
          <a:prstGeom prst="roundRect">
            <a:avLst>
              <a:gd name="adj" fmla="val 10000"/>
            </a:avLst>
          </a:prstGeom>
          <a:noFill/>
          <a:ln>
            <a:noFill/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9177DE5-CEA9-060A-E989-E12A2C692504}"/>
              </a:ext>
            </a:extLst>
          </p:cNvPr>
          <p:cNvSpPr txBox="1"/>
          <p:nvPr/>
        </p:nvSpPr>
        <p:spPr>
          <a:xfrm>
            <a:off x="8997696" y="217017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87600D7-DA1B-F254-E747-50840427C672}"/>
              </a:ext>
            </a:extLst>
          </p:cNvPr>
          <p:cNvSpPr txBox="1"/>
          <p:nvPr/>
        </p:nvSpPr>
        <p:spPr>
          <a:xfrm>
            <a:off x="528810" y="1217441"/>
            <a:ext cx="36599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Invalid Customer – Registration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002F6D6-F87F-5E88-0FD9-4D357DEF68C6}"/>
              </a:ext>
            </a:extLst>
          </p:cNvPr>
          <p:cNvSpPr txBox="1"/>
          <p:nvPr/>
        </p:nvSpPr>
        <p:spPr>
          <a:xfrm>
            <a:off x="723441" y="1637126"/>
            <a:ext cx="58344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. </a:t>
            </a:r>
            <a:r>
              <a:rPr lang="en-US" b="0" i="0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username should not contain special character excep</a:t>
            </a:r>
            <a:r>
              <a:rPr lang="en-US" dirty="0">
                <a:solidFill>
                  <a:srgbClr val="000000"/>
                </a:solidFill>
                <a:latin typeface="Aptos Narrow" panose="020B0004020202020204" pitchFamily="34" charset="0"/>
              </a:rPr>
              <a:t>t _, @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45210A1-65C6-0727-7A9A-827C68BCD618}"/>
              </a:ext>
            </a:extLst>
          </p:cNvPr>
          <p:cNvSpPr txBox="1"/>
          <p:nvPr/>
        </p:nvSpPr>
        <p:spPr>
          <a:xfrm>
            <a:off x="723441" y="4151574"/>
            <a:ext cx="28823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. </a:t>
            </a:r>
            <a:r>
              <a:rPr lang="en-US" b="0" i="0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dob should be min 18 years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5B5FE60-3FEB-37E5-9513-1DA58EC0EE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963" y="2006458"/>
            <a:ext cx="7772400" cy="190456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7782201-8E0D-22F9-F4AF-81950CA52C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1522" y="4520906"/>
            <a:ext cx="7772400" cy="1758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5328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CD1573-D1D1-0B7D-2F4E-35FF252081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6271C0C-A6D7-DECF-830D-33A555200150}"/>
              </a:ext>
            </a:extLst>
          </p:cNvPr>
          <p:cNvSpPr txBox="1"/>
          <p:nvPr/>
        </p:nvSpPr>
        <p:spPr>
          <a:xfrm>
            <a:off x="528810" y="484742"/>
            <a:ext cx="67110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ct Solution Implementation and Output  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B2C7C06-3343-40D6-51D7-83186DADD270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0E4E82A-140C-88F4-4CE0-A88BA968FAF0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BBD80DD-A731-4385-CF31-BC55AF3E4154}"/>
              </a:ext>
            </a:extLst>
          </p:cNvPr>
          <p:cNvSpPr/>
          <p:nvPr/>
        </p:nvSpPr>
        <p:spPr>
          <a:xfrm>
            <a:off x="5764575" y="4219486"/>
            <a:ext cx="2885788" cy="1462857"/>
          </a:xfrm>
          <a:prstGeom prst="roundRect">
            <a:avLst>
              <a:gd name="adj" fmla="val 10000"/>
            </a:avLst>
          </a:prstGeom>
          <a:noFill/>
          <a:ln>
            <a:noFill/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31FE67-B17F-1662-0EF5-6878E3270DBC}"/>
              </a:ext>
            </a:extLst>
          </p:cNvPr>
          <p:cNvSpPr txBox="1"/>
          <p:nvPr/>
        </p:nvSpPr>
        <p:spPr>
          <a:xfrm>
            <a:off x="8997696" y="217017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2B623FB-4C56-43A1-C5B4-05921D3F87F5}"/>
              </a:ext>
            </a:extLst>
          </p:cNvPr>
          <p:cNvSpPr txBox="1"/>
          <p:nvPr/>
        </p:nvSpPr>
        <p:spPr>
          <a:xfrm>
            <a:off x="528810" y="1217441"/>
            <a:ext cx="36599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Invalid Customer – Registration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AB9F048-E3AB-482A-DA91-31E13CEF69D4}"/>
              </a:ext>
            </a:extLst>
          </p:cNvPr>
          <p:cNvSpPr txBox="1"/>
          <p:nvPr/>
        </p:nvSpPr>
        <p:spPr>
          <a:xfrm>
            <a:off x="723441" y="1637126"/>
            <a:ext cx="54149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. </a:t>
            </a:r>
            <a:r>
              <a:rPr lang="en-US" b="0" i="0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sex should be constant MALE/FEMALE/TRANSGENDER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A0B1723-97CF-6EF3-132A-B8F9032468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053" y="2210139"/>
            <a:ext cx="7772400" cy="2649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1177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99867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allenges &amp; Learnings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B5FAA6C-1844-D6A6-29B3-42664B1A46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936" y="1186961"/>
            <a:ext cx="10515600" cy="4378122"/>
          </a:xfrm>
        </p:spPr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b="1" dirty="0"/>
              <a:t>Error Message Clarity</a:t>
            </a:r>
            <a:endParaRPr lang="en-US" dirty="0"/>
          </a:p>
          <a:p>
            <a:pPr lvl="1">
              <a:buFont typeface="Courier New" panose="02070309020205020404" pitchFamily="49" charset="0"/>
              <a:buChar char="o"/>
            </a:pPr>
            <a:r>
              <a:rPr lang="en-US" dirty="0"/>
              <a:t>Crafting clear, user-friendly error messages that explain exactly what went wrong and how users can correct it.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dirty="0"/>
              <a:t>Avoiding overly technical error messages that might confuse non-technical users.</a:t>
            </a:r>
          </a:p>
          <a:p>
            <a:pPr marL="457200" lvl="1" indent="0">
              <a:buNone/>
            </a:pPr>
            <a:endParaRPr lang="en-US" dirty="0"/>
          </a:p>
          <a:p>
            <a:pPr>
              <a:buFont typeface="Wingdings" pitchFamily="2" charset="2"/>
              <a:buChar char="Ø"/>
            </a:pPr>
            <a:r>
              <a:rPr lang="en-US" b="1" dirty="0"/>
              <a:t>Password &amp; Credit Card Validation Rules</a:t>
            </a:r>
            <a:endParaRPr lang="en-US" dirty="0"/>
          </a:p>
          <a:p>
            <a:pPr lvl="1">
              <a:buFont typeface="Courier New" panose="02070309020205020404" pitchFamily="49" charset="0"/>
              <a:buChar char="o"/>
            </a:pPr>
            <a:r>
              <a:rPr lang="en-US" dirty="0"/>
              <a:t>Verifying that the password contains at least one special character and a minimum of 6 characters without being overly restrictive and to </a:t>
            </a:r>
            <a:r>
              <a:rPr lang="en-US" b="0" i="0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encrypt the same</a:t>
            </a:r>
            <a:r>
              <a:rPr lang="en-US" dirty="0"/>
              <a:t>.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dirty="0"/>
              <a:t>Balancing user convenience with security by allowing a wide variety of acceptable special characters.</a:t>
            </a:r>
          </a:p>
          <a:p>
            <a:pPr marL="457200" lvl="1" indent="0">
              <a:buNone/>
            </a:pPr>
            <a:endParaRPr lang="en-US" dirty="0"/>
          </a:p>
          <a:p>
            <a:pPr>
              <a:buFont typeface="Wingdings" pitchFamily="2" charset="2"/>
              <a:buChar char="Ø"/>
            </a:pPr>
            <a:r>
              <a:rPr lang="en-US" b="1" dirty="0"/>
              <a:t>UI/UX Desig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dirty="0"/>
              <a:t>Creating an intuitive and user-friendly registration page that aligns with the project’s objectives while considering accessibility and responsiveness.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629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535531"/>
          </a:xfrm>
        </p:spPr>
        <p:txBody>
          <a:bodyPr/>
          <a:lstStyle/>
          <a:p>
            <a:pPr algn="ctr"/>
            <a:r>
              <a:rPr lang="en-US" sz="32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Presentation Outline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134736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Team introduc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Project overview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Solution High Level Design</a:t>
            </a:r>
          </a:p>
          <a:p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UI – Registration page</a:t>
            </a:r>
          </a:p>
          <a:p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Valid User Registration - Implementation and Output result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Invalid User Registration - Implementation and Output result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Learnings &amp; enhancement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1187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09" y="484742"/>
            <a:ext cx="11024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am introduction – Team 1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CA35CC61-DEFF-9AD3-CDC0-E5966C97F2C9}"/>
              </a:ext>
            </a:extLst>
          </p:cNvPr>
          <p:cNvSpPr/>
          <p:nvPr/>
        </p:nvSpPr>
        <p:spPr>
          <a:xfrm>
            <a:off x="638975" y="1243293"/>
            <a:ext cx="4364825" cy="1423708"/>
          </a:xfrm>
          <a:prstGeom prst="rect">
            <a:avLst/>
          </a:prstGeom>
          <a:noFill/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</a:rPr>
              <a:t>Nitinchandra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Sp</a:t>
            </a:r>
            <a:endParaRPr lang="en-US" sz="1800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Software Engineer </a:t>
            </a:r>
            <a:r>
              <a:rPr lang="en-US" sz="1800" dirty="0">
                <a:solidFill>
                  <a:schemeClr val="tx1"/>
                </a:solidFill>
              </a:rPr>
              <a:t>III</a:t>
            </a:r>
          </a:p>
          <a:p>
            <a:r>
              <a:rPr lang="en-US" sz="1800" u="sng" dirty="0" err="1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</a:rPr>
              <a:t>nitinchandra.sp@walmart.com</a:t>
            </a:r>
            <a:endParaRPr lang="en-US" sz="1800" u="sng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algn="ctr"/>
            <a:endParaRPr lang="en-IN" b="1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DBFE561-8A8F-F3D4-D661-2A5667EE440C}"/>
              </a:ext>
            </a:extLst>
          </p:cNvPr>
          <p:cNvSpPr/>
          <p:nvPr/>
        </p:nvSpPr>
        <p:spPr>
          <a:xfrm>
            <a:off x="5321042" y="1243293"/>
            <a:ext cx="4364825" cy="1423708"/>
          </a:xfrm>
          <a:prstGeom prst="rect">
            <a:avLst/>
          </a:prstGeom>
          <a:noFill/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r>
              <a:rPr lang="en-US" dirty="0" err="1">
                <a:solidFill>
                  <a:schemeClr val="tx1"/>
                </a:solidFill>
              </a:rPr>
              <a:t>Diwya</a:t>
            </a:r>
            <a:r>
              <a:rPr lang="en-US" dirty="0">
                <a:solidFill>
                  <a:schemeClr val="tx1"/>
                </a:solidFill>
              </a:rPr>
              <a:t> Sinha</a:t>
            </a:r>
            <a:endParaRPr lang="en-US" sz="1800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Solution Consultant III</a:t>
            </a:r>
            <a:endParaRPr lang="en-US" sz="1800" dirty="0">
              <a:solidFill>
                <a:schemeClr val="tx1"/>
              </a:solidFill>
            </a:endParaRPr>
          </a:p>
          <a:p>
            <a:r>
              <a:rPr lang="en-US" sz="1800" u="sng" dirty="0" err="1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</a:rPr>
              <a:t>Diwya.Sinha@walmart.com</a:t>
            </a:r>
            <a:endParaRPr lang="en-US" sz="1800" u="sng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algn="ctr"/>
            <a:endParaRPr lang="en-IN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AED896-46CB-CD49-FD70-B7C3749A2797}"/>
              </a:ext>
            </a:extLst>
          </p:cNvPr>
          <p:cNvSpPr/>
          <p:nvPr/>
        </p:nvSpPr>
        <p:spPr>
          <a:xfrm>
            <a:off x="638975" y="2953429"/>
            <a:ext cx="4364825" cy="1423708"/>
          </a:xfrm>
          <a:prstGeom prst="rect">
            <a:avLst/>
          </a:prstGeom>
          <a:noFill/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r>
              <a:rPr lang="en-US" sz="1800" dirty="0" err="1">
                <a:solidFill>
                  <a:schemeClr val="tx1"/>
                </a:solidFill>
              </a:rPr>
              <a:t>Venkatarami</a:t>
            </a:r>
            <a:r>
              <a:rPr lang="en-US" sz="1800" dirty="0">
                <a:solidFill>
                  <a:schemeClr val="tx1"/>
                </a:solidFill>
              </a:rPr>
              <a:t> Reddy Challa</a:t>
            </a:r>
          </a:p>
          <a:p>
            <a:r>
              <a:rPr lang="en-US" dirty="0">
                <a:solidFill>
                  <a:schemeClr val="tx1"/>
                </a:solidFill>
              </a:rPr>
              <a:t>Systems and Infrastructure Engineer III</a:t>
            </a:r>
          </a:p>
          <a:p>
            <a:r>
              <a:rPr lang="en-US" sz="1800" u="sng" dirty="0" err="1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</a:rPr>
              <a:t>Venkatarami.Reddy.Challa@walmart.com</a:t>
            </a:r>
            <a:endParaRPr lang="en-US" sz="1800" u="sng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algn="ctr"/>
            <a:endParaRPr lang="en-IN" b="1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BE6D4E6-E31C-9E7A-5C57-64E1564DFC5D}"/>
              </a:ext>
            </a:extLst>
          </p:cNvPr>
          <p:cNvSpPr/>
          <p:nvPr/>
        </p:nvSpPr>
        <p:spPr>
          <a:xfrm>
            <a:off x="5321042" y="2953429"/>
            <a:ext cx="4364825" cy="1423708"/>
          </a:xfrm>
          <a:prstGeom prst="rect">
            <a:avLst/>
          </a:prstGeom>
          <a:noFill/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Atul </a:t>
            </a:r>
            <a:r>
              <a:rPr lang="en-US" dirty="0" err="1">
                <a:solidFill>
                  <a:schemeClr val="tx1"/>
                </a:solidFill>
              </a:rPr>
              <a:t>Pahlazani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Systems and Infrastructure Engineer III</a:t>
            </a:r>
          </a:p>
          <a:p>
            <a:r>
              <a:rPr lang="en-US" sz="1800" u="sng" dirty="0" err="1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</a:rPr>
              <a:t>atul.pahlazani@walmart.com</a:t>
            </a:r>
            <a:endParaRPr lang="en-US" sz="1800" u="sng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algn="ctr"/>
            <a:endParaRPr lang="en-IN" b="1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A84A18C-9A6F-FF3A-4769-BA36D4E1BE28}"/>
              </a:ext>
            </a:extLst>
          </p:cNvPr>
          <p:cNvSpPr/>
          <p:nvPr/>
        </p:nvSpPr>
        <p:spPr>
          <a:xfrm>
            <a:off x="638975" y="4663565"/>
            <a:ext cx="4364825" cy="1423708"/>
          </a:xfrm>
          <a:prstGeom prst="rect">
            <a:avLst/>
          </a:prstGeom>
          <a:noFill/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Vijay Ganesh </a:t>
            </a:r>
          </a:p>
          <a:p>
            <a:r>
              <a:rPr lang="en-US" dirty="0">
                <a:solidFill>
                  <a:schemeClr val="tx1"/>
                </a:solidFill>
              </a:rPr>
              <a:t>Senior Software Engineer </a:t>
            </a:r>
            <a:endParaRPr lang="en-US" sz="1800" dirty="0">
              <a:solidFill>
                <a:schemeClr val="tx1"/>
              </a:solidFill>
            </a:endParaRPr>
          </a:p>
          <a:p>
            <a:r>
              <a:rPr lang="en-US" sz="1800" u="sng" dirty="0" err="1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</a:rPr>
              <a:t>Vijay.Ganesh@walmart.com</a:t>
            </a:r>
            <a:endParaRPr lang="en-US" sz="1800" u="sng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algn="ctr"/>
            <a:endParaRPr lang="en-IN" b="1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2A1164B-4BEE-23BA-7F01-A070A30ABEA4}"/>
              </a:ext>
            </a:extLst>
          </p:cNvPr>
          <p:cNvSpPr/>
          <p:nvPr/>
        </p:nvSpPr>
        <p:spPr>
          <a:xfrm>
            <a:off x="5321041" y="4663565"/>
            <a:ext cx="4364825" cy="1423708"/>
          </a:xfrm>
          <a:prstGeom prst="rect">
            <a:avLst/>
          </a:prstGeom>
          <a:noFill/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Vijaya Jimmidi</a:t>
            </a:r>
          </a:p>
          <a:p>
            <a:r>
              <a:rPr lang="en-US" dirty="0">
                <a:solidFill>
                  <a:schemeClr val="tx1"/>
                </a:solidFill>
              </a:rPr>
              <a:t>Senior Software Engineer </a:t>
            </a:r>
            <a:endParaRPr lang="en-US" sz="1800" dirty="0">
              <a:solidFill>
                <a:schemeClr val="tx1"/>
              </a:solidFill>
            </a:endParaRPr>
          </a:p>
          <a:p>
            <a:r>
              <a:rPr lang="en-US" u="sng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</a:rPr>
              <a:t>Jimmidi.Vijaya0</a:t>
            </a:r>
            <a:r>
              <a:rPr lang="en-US" sz="1800" u="sng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</a:rPr>
              <a:t>@walmart.com</a:t>
            </a:r>
          </a:p>
          <a:p>
            <a:pPr algn="ctr"/>
            <a:endParaRPr lang="en-IN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934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B2F121-CA53-6232-2331-7C65D6CFEB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0F1EC9B-0ACC-FB8E-372A-7B87AAAC7F6D}"/>
              </a:ext>
            </a:extLst>
          </p:cNvPr>
          <p:cNvSpPr txBox="1"/>
          <p:nvPr/>
        </p:nvSpPr>
        <p:spPr>
          <a:xfrm>
            <a:off x="528810" y="663873"/>
            <a:ext cx="73539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ustomer</a:t>
            </a:r>
            <a:r>
              <a:rPr lang="en-US" sz="2400" dirty="0"/>
              <a:t> </a:t>
            </a:r>
            <a:r>
              <a:rPr lang="en-US" sz="2400" b="1" dirty="0"/>
              <a:t>Login UI Overview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A1B0D33-95F5-FF58-2C86-C7F60BCF36E3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39C3D2D-2EB6-9BA5-DA28-030980764090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0FE19DFA-C92A-8792-C7F2-B1C3500287D5}"/>
              </a:ext>
            </a:extLst>
          </p:cNvPr>
          <p:cNvSpPr txBox="1"/>
          <p:nvPr/>
        </p:nvSpPr>
        <p:spPr>
          <a:xfrm>
            <a:off x="625905" y="1244172"/>
            <a:ext cx="10180992" cy="48013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b="1" dirty="0"/>
              <a:t>Access Flow:</a:t>
            </a:r>
            <a:endParaRPr lang="en-US" dirty="0"/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Navigate to http://&lt;</a:t>
            </a:r>
            <a:r>
              <a:rPr lang="en-US" dirty="0" err="1"/>
              <a:t>ipaddress</a:t>
            </a:r>
            <a:r>
              <a:rPr lang="en-US" dirty="0"/>
              <a:t>&gt;:&lt;port&gt;/ and click </a:t>
            </a:r>
            <a:r>
              <a:rPr lang="en-US" b="1" dirty="0"/>
              <a:t>"Login"</a:t>
            </a:r>
            <a:r>
              <a:rPr lang="en-US" dirty="0"/>
              <a:t>.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New page prompts for </a:t>
            </a:r>
            <a:r>
              <a:rPr lang="en-US" b="1" dirty="0"/>
              <a:t>Email</a:t>
            </a:r>
            <a:r>
              <a:rPr lang="en-US" dirty="0"/>
              <a:t> and </a:t>
            </a:r>
            <a:r>
              <a:rPr lang="en-US" b="1" dirty="0"/>
              <a:t>Password</a:t>
            </a:r>
            <a:r>
              <a:rPr lang="en-US" dirty="0"/>
              <a:t>.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endParaRPr lang="en-US" dirty="0"/>
          </a:p>
          <a:p>
            <a:pPr marL="285750" indent="-285750">
              <a:buFont typeface="Wingdings" pitchFamily="2" charset="2"/>
              <a:buChar char="Ø"/>
            </a:pPr>
            <a:r>
              <a:rPr lang="en-US" b="1" dirty="0"/>
              <a:t>Input Requirements:</a:t>
            </a:r>
            <a:endParaRPr lang="en-US" dirty="0"/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b="1" dirty="0"/>
              <a:t>Email:</a:t>
            </a:r>
            <a:r>
              <a:rPr lang="en-US" dirty="0"/>
              <a:t> Valid email format.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b="1" dirty="0"/>
              <a:t>Password:</a:t>
            </a:r>
            <a:r>
              <a:rPr lang="en-US" dirty="0"/>
              <a:t> At least 6 characters, including 1 special character.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endParaRPr lang="en-US" dirty="0"/>
          </a:p>
          <a:p>
            <a:pPr marL="285750" indent="-285750">
              <a:buFont typeface="Wingdings" pitchFamily="2" charset="2"/>
              <a:buChar char="Ø"/>
            </a:pPr>
            <a:r>
              <a:rPr lang="en-US" b="1" dirty="0"/>
              <a:t>Validation:</a:t>
            </a:r>
            <a:endParaRPr lang="en-US" dirty="0"/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Client-side validation of inputs.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Display error messages: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i="1" dirty="0"/>
              <a:t>"Please enter valid email"</a:t>
            </a:r>
            <a:r>
              <a:rPr lang="en-US" dirty="0"/>
              <a:t> for invalid email.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i="1" dirty="0"/>
              <a:t>"Please have 1 special character and min 6 chars"</a:t>
            </a:r>
            <a:r>
              <a:rPr lang="en-US" dirty="0"/>
              <a:t> for invalid password.</a:t>
            </a:r>
          </a:p>
          <a:p>
            <a:pPr lvl="2"/>
            <a:endParaRPr lang="en-US" dirty="0"/>
          </a:p>
          <a:p>
            <a:pPr marL="285750" indent="-285750">
              <a:buFont typeface="Wingdings" pitchFamily="2" charset="2"/>
              <a:buChar char="Ø"/>
            </a:pPr>
            <a:r>
              <a:rPr lang="en-US" b="1" dirty="0"/>
              <a:t>Outcome:</a:t>
            </a:r>
            <a:endParaRPr lang="en-US" dirty="0"/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Improve user experience by ensuring input correctness and providing clear error guidance.</a:t>
            </a:r>
          </a:p>
          <a:p>
            <a:pPr marL="285750" indent="-285750">
              <a:buFont typeface="Wingdings" pitchFamily="2" charset="2"/>
              <a:buChar char="Ø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27367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B9B395-660F-217F-DC54-CB80FEB281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2156ABD-4E98-1832-B9CF-1DCE8FBD6206}"/>
              </a:ext>
            </a:extLst>
          </p:cNvPr>
          <p:cNvSpPr txBox="1"/>
          <p:nvPr/>
        </p:nvSpPr>
        <p:spPr>
          <a:xfrm>
            <a:off x="528810" y="663873"/>
            <a:ext cx="73539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ustomer Registration API Overview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7925D5C-C3D0-5696-D1BB-32003433E89A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A41A29F-5C9E-50EF-56D5-E49542EEAB2E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E7B2CF64-1351-C8F6-2DCE-661D22FDE069}"/>
              </a:ext>
            </a:extLst>
          </p:cNvPr>
          <p:cNvSpPr txBox="1"/>
          <p:nvPr/>
        </p:nvSpPr>
        <p:spPr>
          <a:xfrm>
            <a:off x="723441" y="1366092"/>
            <a:ext cx="8462573" cy="36933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b="1" dirty="0"/>
              <a:t> API Endpoint:</a:t>
            </a:r>
            <a:r>
              <a:rPr lang="en-US" dirty="0"/>
              <a:t> POST /</a:t>
            </a:r>
            <a:r>
              <a:rPr lang="en-US" dirty="0" err="1"/>
              <a:t>api</a:t>
            </a:r>
            <a:r>
              <a:rPr lang="en-US" dirty="0"/>
              <a:t>/customer/register</a:t>
            </a:r>
          </a:p>
          <a:p>
            <a:endParaRPr lang="en-US" dirty="0"/>
          </a:p>
          <a:p>
            <a:pPr marL="285750" indent="-285750">
              <a:buFont typeface="Wingdings" pitchFamily="2" charset="2"/>
              <a:buChar char="Ø"/>
            </a:pPr>
            <a:r>
              <a:rPr lang="en-US" b="1" dirty="0"/>
              <a:t>User Inputs:</a:t>
            </a:r>
            <a:r>
              <a:rPr lang="en-US" dirty="0"/>
              <a:t> Username, Password, Credit Card, Name, DOB, Sex, Email</a:t>
            </a:r>
          </a:p>
          <a:p>
            <a:endParaRPr lang="en-US" dirty="0"/>
          </a:p>
          <a:p>
            <a:pPr marL="285750" indent="-285750">
              <a:buFont typeface="Wingdings" pitchFamily="2" charset="2"/>
              <a:buChar char="Ø"/>
            </a:pPr>
            <a:r>
              <a:rPr lang="en-US" b="1" dirty="0"/>
              <a:t>Validation Rules: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Username: Min 6 characters, unique, allowed special characters _ and @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Password: Min 6 characters, 1 special character required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DOB: Minimum age 18 years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Credit Card: Validated and encrypted</a:t>
            </a:r>
          </a:p>
          <a:p>
            <a:pPr lvl="1"/>
            <a:endParaRPr lang="en-US" dirty="0"/>
          </a:p>
          <a:p>
            <a:pPr marL="285750" indent="-285750">
              <a:buFont typeface="Wingdings" pitchFamily="2" charset="2"/>
              <a:buChar char="Ø"/>
            </a:pPr>
            <a:r>
              <a:rPr lang="en-US" b="1" dirty="0"/>
              <a:t>Security:</a:t>
            </a:r>
            <a:r>
              <a:rPr lang="en-US" dirty="0"/>
              <a:t> Encrypt password and </a:t>
            </a:r>
            <a:r>
              <a:rPr lang="en-US" dirty="0" err="1"/>
              <a:t>credit_card</a:t>
            </a:r>
            <a:r>
              <a:rPr lang="en-US" dirty="0"/>
              <a:t> before storage</a:t>
            </a:r>
          </a:p>
          <a:p>
            <a:endParaRPr lang="en-US" dirty="0"/>
          </a:p>
          <a:p>
            <a:pPr marL="285750" indent="-285750">
              <a:buFont typeface="Wingdings" pitchFamily="2" charset="2"/>
              <a:buChar char="Ø"/>
            </a:pPr>
            <a:r>
              <a:rPr lang="en-US" b="1" dirty="0"/>
              <a:t>Outcome:</a:t>
            </a:r>
            <a:r>
              <a:rPr lang="en-US" dirty="0"/>
              <a:t> Secure and validated customer registrations stored in the database</a:t>
            </a:r>
          </a:p>
        </p:txBody>
      </p:sp>
    </p:spTree>
    <p:extLst>
      <p:ext uri="{BB962C8B-B14F-4D97-AF65-F5344CB8AC3E}">
        <p14:creationId xmlns:p14="http://schemas.microsoft.com/office/powerpoint/2010/main" val="16618569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805171" y="388180"/>
            <a:ext cx="90228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1"/>
                </a:solidFill>
              </a:rPr>
              <a:t>High Level Design(HLD)-</a:t>
            </a:r>
          </a:p>
          <a:p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1"/>
            <a:ext cx="11190439" cy="50071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Content Placeholder 2">
            <a:extLst>
              <a:ext uri="{FF2B5EF4-FFF2-40B4-BE49-F238E27FC236}">
                <a16:creationId xmlns:a16="http://schemas.microsoft.com/office/drawing/2014/main" id="{9C05997E-BC8E-6B09-2174-095A45A7383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4980636"/>
              </p:ext>
            </p:extLst>
          </p:nvPr>
        </p:nvGraphicFramePr>
        <p:xfrm>
          <a:off x="634483" y="1464906"/>
          <a:ext cx="10420868" cy="42000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1641FD38-0AB0-A873-982A-77DA162D025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4483" y="1130300"/>
            <a:ext cx="7658100" cy="459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3715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67110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ct Solution Implementation and Output  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8B34F09-44CB-AA43-B25D-ADCF02BD36F3}"/>
              </a:ext>
            </a:extLst>
          </p:cNvPr>
          <p:cNvSpPr/>
          <p:nvPr/>
        </p:nvSpPr>
        <p:spPr>
          <a:xfrm>
            <a:off x="5764575" y="4219486"/>
            <a:ext cx="2885788" cy="1462857"/>
          </a:xfrm>
          <a:prstGeom prst="roundRect">
            <a:avLst>
              <a:gd name="adj" fmla="val 10000"/>
            </a:avLst>
          </a:prstGeom>
          <a:noFill/>
          <a:ln>
            <a:noFill/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CDC3D1A-378D-6FFA-F709-76A7429D9C1A}"/>
              </a:ext>
            </a:extLst>
          </p:cNvPr>
          <p:cNvSpPr txBox="1"/>
          <p:nvPr/>
        </p:nvSpPr>
        <p:spPr>
          <a:xfrm>
            <a:off x="528810" y="1186961"/>
            <a:ext cx="32047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Customer Registration - UI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696E51F9-F095-3D90-6613-8D74A90690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3441" y="1735424"/>
            <a:ext cx="7772400" cy="2749647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AC8FE84-536B-0707-50EE-57A407E9768E}"/>
              </a:ext>
            </a:extLst>
          </p:cNvPr>
          <p:cNvSpPr txBox="1"/>
          <p:nvPr/>
        </p:nvSpPr>
        <p:spPr>
          <a:xfrm>
            <a:off x="723441" y="449158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Customer Login - UI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58323245-C797-4F6E-1D3A-209EFC4B34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441" y="4950914"/>
            <a:ext cx="7772400" cy="1422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6313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8AD048-5827-19D2-FBBF-11DFD69ED6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29564AC-C9D1-5643-F6BE-F4D5A8E2061E}"/>
              </a:ext>
            </a:extLst>
          </p:cNvPr>
          <p:cNvSpPr txBox="1"/>
          <p:nvPr/>
        </p:nvSpPr>
        <p:spPr>
          <a:xfrm>
            <a:off x="528810" y="484742"/>
            <a:ext cx="67110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ct Solution Implementation and Output  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3A37139-8CCA-B4AC-1E1D-9804D9968D73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A1F906A-1D9F-455A-E73B-B403217DFBF2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1D564B7-695D-4153-A932-1D728135E71A}"/>
              </a:ext>
            </a:extLst>
          </p:cNvPr>
          <p:cNvSpPr/>
          <p:nvPr/>
        </p:nvSpPr>
        <p:spPr>
          <a:xfrm>
            <a:off x="5764575" y="4219486"/>
            <a:ext cx="2885788" cy="1462857"/>
          </a:xfrm>
          <a:prstGeom prst="roundRect">
            <a:avLst>
              <a:gd name="adj" fmla="val 10000"/>
            </a:avLst>
          </a:prstGeom>
          <a:noFill/>
          <a:ln>
            <a:noFill/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C0F5FA-E42E-7C08-BBA3-E400A2328F9A}"/>
              </a:ext>
            </a:extLst>
          </p:cNvPr>
          <p:cNvSpPr txBox="1"/>
          <p:nvPr/>
        </p:nvSpPr>
        <p:spPr>
          <a:xfrm>
            <a:off x="566718" y="951761"/>
            <a:ext cx="61542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Customer Registration UI – Invalid customer validation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76A1B0E-18BE-6DD8-5DF4-A9000B665035}"/>
              </a:ext>
            </a:extLst>
          </p:cNvPr>
          <p:cNvSpPr txBox="1"/>
          <p:nvPr/>
        </p:nvSpPr>
        <p:spPr>
          <a:xfrm>
            <a:off x="566718" y="4323461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Customer Login UI – Invalid user valida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C57F431-0767-D95E-B6A7-05C8C6EBBD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718" y="4819268"/>
            <a:ext cx="7772400" cy="142234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C033A78-895A-2330-924B-06F9AEA253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6718" y="1377839"/>
            <a:ext cx="7772400" cy="2841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7325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8E0D08-BAED-42C1-79C5-97EED1E6A8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B5359832-9816-A19C-B7EA-F16BABFCF131}"/>
              </a:ext>
            </a:extLst>
          </p:cNvPr>
          <p:cNvSpPr txBox="1"/>
          <p:nvPr/>
        </p:nvSpPr>
        <p:spPr>
          <a:xfrm>
            <a:off x="528810" y="484742"/>
            <a:ext cx="67110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ct Solution Implementation and Output  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41652AD-3CA5-394F-06C0-BADB1111B5B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B5CE18D-2069-469D-932A-887286F858D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BE138BB-8BAA-2E75-DB18-221228A5F268}"/>
              </a:ext>
            </a:extLst>
          </p:cNvPr>
          <p:cNvSpPr/>
          <p:nvPr/>
        </p:nvSpPr>
        <p:spPr>
          <a:xfrm>
            <a:off x="5764575" y="4219486"/>
            <a:ext cx="2885788" cy="1462857"/>
          </a:xfrm>
          <a:prstGeom prst="roundRect">
            <a:avLst>
              <a:gd name="adj" fmla="val 10000"/>
            </a:avLst>
          </a:prstGeom>
          <a:noFill/>
          <a:ln>
            <a:noFill/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CB01FB6-522F-648F-6788-F7F3407A5F28}"/>
              </a:ext>
            </a:extLst>
          </p:cNvPr>
          <p:cNvSpPr txBox="1"/>
          <p:nvPr/>
        </p:nvSpPr>
        <p:spPr>
          <a:xfrm>
            <a:off x="528810" y="1186961"/>
            <a:ext cx="35530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Valid Customer – Registration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9D82CCF-6CAD-8B78-28ED-117065627F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840" y="1700468"/>
            <a:ext cx="7772400" cy="214276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56B1684-B09B-887F-16CE-731D53356972}"/>
              </a:ext>
            </a:extLst>
          </p:cNvPr>
          <p:cNvSpPr txBox="1"/>
          <p:nvPr/>
        </p:nvSpPr>
        <p:spPr>
          <a:xfrm>
            <a:off x="723441" y="4052420"/>
            <a:ext cx="38608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Valid Customer record stored in DB 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6370F13-86F9-6B6A-DB44-380B9BA0F1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500" y="4520224"/>
            <a:ext cx="7772400" cy="634874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4DF460B7-3248-5910-9852-A6C0814B838D}"/>
              </a:ext>
            </a:extLst>
          </p:cNvPr>
          <p:cNvSpPr txBox="1"/>
          <p:nvPr/>
        </p:nvSpPr>
        <p:spPr>
          <a:xfrm>
            <a:off x="723441" y="5166017"/>
            <a:ext cx="39456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cknowledgement</a:t>
            </a:r>
            <a:r>
              <a:rPr lang="en-US" b="0" i="0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 </a:t>
            </a:r>
            <a:r>
              <a:rPr lang="en-US" dirty="0"/>
              <a:t>sent</a:t>
            </a:r>
            <a:r>
              <a:rPr lang="en-US" b="0" i="0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 </a:t>
            </a:r>
            <a:r>
              <a:rPr lang="en-US" dirty="0"/>
              <a:t>as</a:t>
            </a:r>
            <a:r>
              <a:rPr lang="en-US" b="0" i="0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 -</a:t>
            </a:r>
            <a:endParaRPr lang="en-US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B1F5249-DC43-4851-2684-8E4011B7DB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500" y="5682343"/>
            <a:ext cx="7772400" cy="690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3720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HINKCELLUNDODONOTDELETE" val="0"/>
  <p:tag name="TEMPLATELASTEDITED" val="2022-01-18 06:01 P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610</TotalTime>
  <Words>598</Words>
  <Application>Microsoft Macintosh PowerPoint</Application>
  <PresentationFormat>Widescreen</PresentationFormat>
  <Paragraphs>107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ptos Narrow</vt:lpstr>
      <vt:lpstr>Arial</vt:lpstr>
      <vt:lpstr>Calibri</vt:lpstr>
      <vt:lpstr>Courier New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baresh Rao [UNext]</dc:creator>
  <cp:lastModifiedBy>Jimmidi Vijaya</cp:lastModifiedBy>
  <cp:revision>474</cp:revision>
  <dcterms:created xsi:type="dcterms:W3CDTF">2022-01-18T12:35:56Z</dcterms:created>
  <dcterms:modified xsi:type="dcterms:W3CDTF">2024-11-19T21:1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MSIP_Label_b24820e8-223f-4ed2-bd95-81c83f641284_Enabled">
    <vt:lpwstr>true</vt:lpwstr>
  </property>
  <property fmtid="{D5CDD505-2E9C-101B-9397-08002B2CF9AE}" pid="5" name="MSIP_Label_b24820e8-223f-4ed2-bd95-81c83f641284_SetDate">
    <vt:lpwstr>2023-04-03T11:47:33Z</vt:lpwstr>
  </property>
  <property fmtid="{D5CDD505-2E9C-101B-9397-08002B2CF9AE}" pid="6" name="MSIP_Label_b24820e8-223f-4ed2-bd95-81c83f641284_Method">
    <vt:lpwstr>Standard</vt:lpwstr>
  </property>
  <property fmtid="{D5CDD505-2E9C-101B-9397-08002B2CF9AE}" pid="7" name="MSIP_Label_b24820e8-223f-4ed2-bd95-81c83f641284_Name">
    <vt:lpwstr>b24820e8-223f-4ed2-bd95-81c83f641284</vt:lpwstr>
  </property>
  <property fmtid="{D5CDD505-2E9C-101B-9397-08002B2CF9AE}" pid="8" name="MSIP_Label_b24820e8-223f-4ed2-bd95-81c83f641284_SiteId">
    <vt:lpwstr>3cbcc3d3-094d-4006-9849-0d11d61f484d</vt:lpwstr>
  </property>
  <property fmtid="{D5CDD505-2E9C-101B-9397-08002B2CF9AE}" pid="9" name="MSIP_Label_b24820e8-223f-4ed2-bd95-81c83f641284_ActionId">
    <vt:lpwstr>c5e994f0-f1ac-4570-9c59-29b73e675307</vt:lpwstr>
  </property>
  <property fmtid="{D5CDD505-2E9C-101B-9397-08002B2CF9AE}" pid="10" name="MSIP_Label_b24820e8-223f-4ed2-bd95-81c83f641284_ContentBits">
    <vt:lpwstr>0</vt:lpwstr>
  </property>
</Properties>
</file>